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140_8A729CA8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13" r:id="rId5"/>
    <p:sldId id="268" r:id="rId6"/>
    <p:sldId id="318" r:id="rId7"/>
    <p:sldId id="321" r:id="rId8"/>
    <p:sldId id="319" r:id="rId9"/>
    <p:sldId id="320" r:id="rId10"/>
    <p:sldId id="283" r:id="rId11"/>
  </p:sldIdLst>
  <p:sldSz cx="12192000" cy="6858000"/>
  <p:notesSz cx="6858000" cy="9144000"/>
  <p:embeddedFontLst>
    <p:embeddedFont>
      <p:font typeface="EON Brix Sans" panose="020B0500000000000000" pitchFamily="34" charset="0"/>
      <p:regular r:id="rId14"/>
      <p:bold r:id="rId15"/>
      <p:italic r:id="rId16"/>
      <p:boldItalic r:id="rId17"/>
    </p:embeddedFont>
    <p:embeddedFont>
      <p:font typeface="EON Office Head" panose="020B0604020202020204" charset="0"/>
      <p:regular r:id="rId18"/>
    </p:embeddedFont>
  </p:embeddedFontLst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0382A3-FDE3-AD1F-6008-46F446D49561}" name="Dudley, Kirsty" initials="KD" userId="S::K5347@eon.com::73a7b81c-d4e4-4b26-9e9b-ce1081a9102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85544ED-D872-4A38-84A3-37E38DD31BEC}" v="2" dt="2024-07-31T15:08:04.685"/>
  </p1510:revLst>
</p1510:revInfo>
</file>

<file path=ppt/tableStyles.xml><?xml version="1.0" encoding="utf-8"?>
<a:tblStyleLst xmlns:a="http://schemas.openxmlformats.org/drawingml/2006/main" def="{F2DE63D5-997A-4646-A377-4702673A728D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2" autoAdjust="0"/>
    <p:restoredTop sz="96197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91" d="100"/>
          <a:sy n="191" d="100"/>
        </p:scale>
        <p:origin x="1506" y="1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theme" Target="theme/theme1.xml"/></Relationships>
</file>

<file path=ppt/comments/modernComment_140_8A729CA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789A423-20E1-431F-812E-EE843EC31F90}" authorId="{7F0382A3-FDE3-AD1F-6008-46F446D49561}" created="2024-07-31T11:50:45.138">
    <pc:sldMkLst xmlns:pc="http://schemas.microsoft.com/office/powerpoint/2013/main/command">
      <pc:docMk/>
      <pc:sldMk cId="2322767016" sldId="320"/>
    </pc:sldMkLst>
    <p188:txBody>
      <a:bodyPr/>
      <a:lstStyle/>
      <a:p>
        <a:r>
          <a:rPr lang="en-GB"/>
          <a:t>As testing is now trying to replicate the live window do parties want to test this business rule? 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EF15546-CF98-0ECD-3C30-AF7ADFEA53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582542-B544-EC8B-8809-B734C38584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62F7A-CE52-49BC-9E83-8800BF7B5834}" type="datetimeFigureOut">
              <a:rPr lang="de-DE" smtClean="0"/>
              <a:t>31.07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70DEA8-22DC-FE60-6D02-1EAA794313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D74975-BE5F-023C-CBB6-73F33355B8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89E97C-5547-4CEC-9D2D-236DAC97C59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78693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03ADE0E1-2DAE-45F5-87B7-DB9E3D8054DE}" type="datetimeFigureOut">
              <a:rPr lang="de-DE" smtClean="0"/>
              <a:pPr/>
              <a:t>31.07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334F4A3F-64EC-49EC-B822-7C30E9B55BB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99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sv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8" name="E.ON Logo">
            <a:extLst>
              <a:ext uri="{FF2B5EF4-FFF2-40B4-BE49-F238E27FC236}">
                <a16:creationId xmlns:a16="http://schemas.microsoft.com/office/drawing/2014/main" id="{9F1F22E5-C4EF-53C3-8ADA-A36265609262}"/>
              </a:ext>
            </a:extLst>
          </p:cNvPr>
          <p:cNvSpPr/>
          <p:nvPr userDrawn="1"/>
        </p:nvSpPr>
        <p:spPr>
          <a:xfrm>
            <a:off x="9732026" y="5799031"/>
            <a:ext cx="1980549" cy="546206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rgbClr val="F21C0A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375" y="6050859"/>
            <a:ext cx="5616575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31.07.20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299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800A6A20-E873-F140-AC79-822BDF254684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Image">
            <a:extLst>
              <a:ext uri="{FF2B5EF4-FFF2-40B4-BE49-F238E27FC236}">
                <a16:creationId xmlns:a16="http://schemas.microsoft.com/office/drawing/2014/main" id="{C8A0EA80-6C56-3462-7962-5C9554E7B4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574" y="1"/>
            <a:ext cx="5915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5436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5436613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A3DA913-F435-7661-FD22-506A0DB96E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56503FA3-8982-0240-96EB-0717438A640D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526211"/>
            <a:ext cx="3504000" cy="138499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Image">
            <a:extLst>
              <a:ext uri="{FF2B5EF4-FFF2-40B4-BE49-F238E27FC236}">
                <a16:creationId xmlns:a16="http://schemas.microsoft.com/office/drawing/2014/main" id="{16C5AC2D-3DAF-BE99-F11D-E9E48F025B4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4574" y="1"/>
            <a:ext cx="7847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3528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0AC4D8E-41CB-97B9-6D6F-3F32AFA594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27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35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A92F7AF8-436B-7E4C-B79C-9AFED39A31DF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807198"/>
            <a:ext cx="6132514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 err="1"/>
              <a:t>Two</a:t>
            </a:r>
            <a:r>
              <a:rPr lang="de-DE" dirty="0"/>
              <a:t> Images Slide</a:t>
            </a:r>
          </a:p>
        </p:txBody>
      </p:sp>
      <p:sp>
        <p:nvSpPr>
          <p:cNvPr id="10" name="Image">
            <a:extLst>
              <a:ext uri="{FF2B5EF4-FFF2-40B4-BE49-F238E27FC236}">
                <a16:creationId xmlns:a16="http://schemas.microsoft.com/office/drawing/2014/main" id="{936BB358-D532-3EBE-A492-9D8C8B48C9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32512" y="1807198"/>
            <a:ext cx="6056175" cy="5050801"/>
          </a:xfrm>
          <a:solidFill>
            <a:schemeClr val="bg1">
              <a:lumMod val="8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7277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454086B4-C1C9-5E41-95C0-A15114FD0380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07198"/>
            <a:ext cx="12192000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4FA448A-A5A1-F5E7-8038-8DB3FB9B2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4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7999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A870E17-585B-25EC-91D4-D2E89C010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9234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162AFC14-86FA-9D4E-B7BC-74F2486D8FF3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0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BEAAC-B2AD-9E48-A8EA-4EB764E838A2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460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background">
            <a:extLst>
              <a:ext uri="{FF2B5EF4-FFF2-40B4-BE49-F238E27FC236}">
                <a16:creationId xmlns:a16="http://schemas.microsoft.com/office/drawing/2014/main" id="{7A445AAD-DA93-44A7-A716-6A7756ED626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62BF7-8CBC-9E45-BB2F-9259532D43CD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76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99B5F3EF-3489-EF41-92AE-C07F97C393BA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6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4F111-9A96-A84D-87BF-789F902DF62C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1010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2E56A6B5-6638-1EBD-C8EC-8B45B057CC9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F8125B0E-A430-BE60-8185-DF418040DB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2CA009F2-CDFA-1DA7-02B3-838E529006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ECB2BC4-109C-E1A1-A355-551DE1C33D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32025" y="5799032"/>
            <a:ext cx="1980551" cy="546206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992822-E94C-1702-FD5A-3197C5DBF06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479375" y="6050859"/>
            <a:ext cx="5616000" cy="36000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31.07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9329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0" y="0"/>
            <a:ext cx="7824788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99EB4-9340-0347-AF3C-D74FCC7E080E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83563" y="1807199"/>
            <a:ext cx="3529012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3563" y="512763"/>
            <a:ext cx="3528436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Chart Footnote/Source">
            <a:extLst>
              <a:ext uri="{FF2B5EF4-FFF2-40B4-BE49-F238E27FC236}">
                <a16:creationId xmlns:a16="http://schemas.microsoft.com/office/drawing/2014/main" id="{8388A654-05DA-46BD-2557-D2D34395D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0000" y="5759167"/>
            <a:ext cx="7092375" cy="15132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900" b="0"/>
            </a:lvl1pPr>
          </a:lstStyle>
          <a:p>
            <a:pPr lvl="0"/>
            <a:r>
              <a:rPr lang="de-DE" err="1"/>
              <a:t>Footnote</a:t>
            </a:r>
            <a:r>
              <a:rPr lang="de-DE"/>
              <a:t>/Sourc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3" y="1399160"/>
            <a:ext cx="7091801" cy="4262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graph</a:t>
            </a:r>
            <a:r>
              <a:rPr lang="de-DE" dirty="0"/>
              <a:t>/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851410"/>
            <a:ext cx="7092375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000" y="512763"/>
            <a:ext cx="7092375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696840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 userDrawn="1">
          <p15:clr>
            <a:srgbClr val="FBAE40"/>
          </p15:clr>
        </p15:guide>
        <p15:guide id="3" pos="4770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6275388" y="0"/>
            <a:ext cx="5916612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FC8AF-567C-5F49-8E44-47B93969B66E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98" y="1807199"/>
            <a:ext cx="4968301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9" y="512763"/>
            <a:ext cx="49683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743700" y="512762"/>
            <a:ext cx="4968300" cy="45142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graph</a:t>
            </a:r>
            <a:r>
              <a:rPr lang="de-DE"/>
              <a:t>/</a:t>
            </a:r>
            <a:r>
              <a:rPr lang="de-DE" err="1"/>
              <a:t>table</a:t>
            </a:r>
            <a:endParaRPr lang="de-DE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3299" y="5598356"/>
            <a:ext cx="4968702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3299" y="5259709"/>
            <a:ext cx="4968702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311415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pos="4248" userDrawn="1">
          <p15:clr>
            <a:srgbClr val="FBAE40"/>
          </p15:clr>
        </p15:guide>
        <p15:guide id="6" pos="343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264AB6-0912-0D16-C25D-0763240699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4000">
                <a:srgbClr val="EA1B0A"/>
              </a:gs>
              <a:gs pos="98000">
                <a:srgbClr val="96148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CDB24E5-50DF-AB48-84B3-580C5F8120F5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09647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Titel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C079F7D-79FF-41AB-124C-407E69AFC1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ECF06861-9D4E-FDEF-993D-96CA6FA8BC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86D6CD-FB18-19C2-A75E-33EDA5AF8E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2331936"/>
            <a:ext cx="6444668" cy="1557151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127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C2EE32AD-0752-744D-B6FE-A4C1BE5DF0E1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19173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Titel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E3AB64-3C77-CE4A-0503-7D8207B8D8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331936"/>
            <a:ext cx="5976615" cy="1547626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0551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4215170-0B6B-5D5C-3956-42FA14BA3E66}"/>
              </a:ext>
            </a:extLst>
          </p:cNvPr>
          <p:cNvSpPr/>
          <p:nvPr userDrawn="1"/>
        </p:nvSpPr>
        <p:spPr>
          <a:xfrm>
            <a:off x="0" y="-1"/>
            <a:ext cx="6275388" cy="6858000"/>
          </a:xfrm>
          <a:prstGeom prst="rect">
            <a:avLst/>
          </a:prstGeom>
          <a:gradFill flip="none" rotWithShape="1">
            <a:gsLst>
              <a:gs pos="6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5E0F0B2-06FB-E449-A0E9-9299E25AD56D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388" y="0"/>
            <a:ext cx="5916612" cy="6857999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5436613" cy="29162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16AC418-7DF3-FC4A-3FE3-EB675B6D8F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DAE23C1-FA80-8A1B-7E1D-9EF6DB6801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02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438835-2655-8DCA-404E-79083CC38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7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D488086D-EEA1-CF4E-B791-0B497494499F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ntact</a:t>
            </a:r>
            <a:r>
              <a:rPr lang="de-DE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4"/>
            <a:ext cx="9288001" cy="689469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1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3464D1A-B18E-D090-1C9D-E945B394C3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5083936-085C-48AA-540F-DA08BAD5EE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91DF28A4-A76B-1B84-FFC1-3596AF8A00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FC7B165-BDDA-78D9-22D2-E6CC395C0C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1202233"/>
            <a:ext cx="9288001" cy="635639"/>
          </a:xfrm>
        </p:spPr>
        <p:txBody>
          <a:bodyPr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.ON Logo">
            <a:extLst>
              <a:ext uri="{FF2B5EF4-FFF2-40B4-BE49-F238E27FC236}">
                <a16:creationId xmlns:a16="http://schemas.microsoft.com/office/drawing/2014/main" id="{404EC8AB-7FB9-DD09-32D3-29B6F4B7B61F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65157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">
            <a:extLst>
              <a:ext uri="{FF2B5EF4-FFF2-40B4-BE49-F238E27FC236}">
                <a16:creationId xmlns:a16="http://schemas.microsoft.com/office/drawing/2014/main" id="{80AC49D3-6A5A-9774-4531-1B486B7E76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E1661ABF-B6C1-304A-B785-E576099AC068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575" cy="68947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9DA9C75-51A0-D606-2C11-77CC23F8A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62B9F09-1353-EC0F-B9A1-A281ABA9ED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04437E0E-F58E-840C-4CA1-5A20337C18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D6592-F4E3-3941-7D9D-531EB3FA89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1202233"/>
            <a:ext cx="11233150" cy="67990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E398898-6226-AF23-EBB4-8146744ED0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87819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mage">
            <a:extLst>
              <a:ext uri="{FF2B5EF4-FFF2-40B4-BE49-F238E27FC236}">
                <a16:creationId xmlns:a16="http://schemas.microsoft.com/office/drawing/2014/main" id="{96537854-3AC1-5D8C-32C0-773FDACAA8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5E4262CA-21A9-4E4D-8E7E-5DF8639F2343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79425" y="1448780"/>
            <a:ext cx="11233150" cy="3545586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15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Closing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1FBC18BA-07D1-12C2-80F5-C358D6A587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97D13E98-B776-B804-BDA0-5AA68AC6F5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5B4FB576-C51D-63AF-406B-C62ACA7171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9364ACD0-A96D-8FE8-D5F2-DC9811F772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72722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152379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C25F2DB8-05D3-784A-98E0-7A06DBBA287E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mage">
            <a:extLst>
              <a:ext uri="{FF2B5EF4-FFF2-40B4-BE49-F238E27FC236}">
                <a16:creationId xmlns:a16="http://schemas.microsoft.com/office/drawing/2014/main" id="{3A04AC39-7148-C419-6962-E080928AA6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7620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3528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3528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3528000" cy="2243691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400">
                <a:solidFill>
                  <a:schemeClr val="accent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0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B448BCEC-C644-97C8-EDFE-A5318AB3EA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00E2E16-40EB-598C-C85E-F2E8A9EE05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64DA533-F61A-5EEF-7809-39495E4A5F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E.ON Logo">
            <a:extLst>
              <a:ext uri="{FF2B5EF4-FFF2-40B4-BE49-F238E27FC236}">
                <a16:creationId xmlns:a16="http://schemas.microsoft.com/office/drawing/2014/main" id="{987A17B9-31C0-7037-5B47-DBECF4F8697D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accent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69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71EDD8-CE41-5F3A-1222-8BB0B52C85ED}"/>
              </a:ext>
            </a:extLst>
          </p:cNvPr>
          <p:cNvSpPr/>
          <p:nvPr userDrawn="1"/>
        </p:nvSpPr>
        <p:spPr>
          <a:xfrm>
            <a:off x="0" y="-1"/>
            <a:ext cx="4572000" cy="6858000"/>
          </a:xfrm>
          <a:prstGeom prst="rect">
            <a:avLst/>
          </a:prstGeom>
          <a:gradFill flip="none" rotWithShape="1">
            <a:gsLst>
              <a:gs pos="58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5674F3-461B-A0D8-BD43-B0E188D4749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3D36D-170F-57E0-AC70-4E68245359A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B8FDE1EB-2770-97AC-33D1-F5045924E2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2407206"/>
            <a:ext cx="3708362" cy="564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512764"/>
            <a:ext cx="3708363" cy="17776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4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1E5B8264-4460-C20B-5FD0-7B628F2BF2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4BA2485C-9557-F4C3-55A1-F87F6372E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0" name="E.ON Logo">
            <a:extLst>
              <a:ext uri="{FF2B5EF4-FFF2-40B4-BE49-F238E27FC236}">
                <a16:creationId xmlns:a16="http://schemas.microsoft.com/office/drawing/2014/main" id="{778D5CDF-1202-A4A2-F064-431B6EFF7421}"/>
              </a:ext>
            </a:extLst>
          </p:cNvPr>
          <p:cNvSpPr/>
          <p:nvPr userDrawn="1"/>
        </p:nvSpPr>
        <p:spPr>
          <a:xfrm>
            <a:off x="479425" y="5854729"/>
            <a:ext cx="1778585" cy="490507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78F765-2AAF-6D64-9D02-36444FBC874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9424" y="3112945"/>
            <a:ext cx="3708361" cy="287337"/>
          </a:xfrm>
        </p:spPr>
        <p:txBody>
          <a:bodyPr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31.07.20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8697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6C5AA-B723-1B46-A200-44A840E6773F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807200"/>
            <a:ext cx="11232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41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03AA2-B5CF-DF42-BFD7-E438A8E61E16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76575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53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E2844-2F76-E644-A845-460A05DF696C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821C6087-42E8-EF3E-2DB1-006977CF49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84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Content center">
            <a:extLst>
              <a:ext uri="{FF2B5EF4-FFF2-40B4-BE49-F238E27FC236}">
                <a16:creationId xmlns:a16="http://schemas.microsoft.com/office/drawing/2014/main" id="{4DBF2313-467C-EC6E-F064-A45CD68A4D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2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02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29">
          <p15:clr>
            <a:srgbClr val="FBAE40"/>
          </p15:clr>
        </p15:guide>
        <p15:guide id="3" pos="5155">
          <p15:clr>
            <a:srgbClr val="FBAE40"/>
          </p15:clr>
        </p15:guide>
        <p15:guide id="4" pos="495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5105732-2702-2705-E25B-F69A991136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287" y="1816649"/>
            <a:ext cx="3527425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8F8D6EF-C64D-64CB-2BE5-D5340EA02F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5149" y="1816651"/>
            <a:ext cx="3527425" cy="452858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810C95-AC8E-6C1E-2B05-18C779A35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816651"/>
            <a:ext cx="3527424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0F2DB-F57A-AF4E-AE6C-A93AEBE3F34F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7542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4951" userDrawn="1">
          <p15:clr>
            <a:srgbClr val="FBAE40"/>
          </p15:clr>
        </p15:guide>
        <p15:guide id="8" pos="515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D648E009-BB98-9E35-EA66-436B411E8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08162"/>
            <a:ext cx="2555266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9563D87D-9B7E-CB86-AD42-793930BBC5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9151" y="1808162"/>
            <a:ext cx="2556850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B04EEFA6-9DB8-5952-1B19-2DC826ECF7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1" y="1808162"/>
            <a:ext cx="2592389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2F93D3B-4527-E2A4-E384-5954C4A98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56699" y="1808162"/>
            <a:ext cx="2555875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54A01-68C8-6244-A7C0-65979CD3F425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51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3727" userDrawn="1">
          <p15:clr>
            <a:srgbClr val="FBAE40"/>
          </p15:clr>
        </p15:guide>
        <p15:guide id="8" pos="3931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7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FC4CD-1D60-AC45-8637-25ABD31243B7}" type="datetime1">
              <a:rPr lang="de-DE" smtClean="0"/>
              <a:t>31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24FCAC5-11F5-9A4C-F9DC-4A81828929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1</a:t>
            </a:r>
            <a:endParaRPr lang="en-US" dirty="0"/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FACD359C-D847-4B82-D96F-7456AFF3D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144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2</a:t>
            </a:r>
            <a:endParaRPr lang="en-US" dirty="0"/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A6CBA61-2475-CC89-F9C3-C02028C81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288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3</a:t>
            </a:r>
            <a:endParaRPr lang="en-US" dirty="0"/>
          </a:p>
        </p:txBody>
      </p:sp>
      <p:sp>
        <p:nvSpPr>
          <p:cNvPr id="63" name="Text Placeholder 59">
            <a:extLst>
              <a:ext uri="{FF2B5EF4-FFF2-40B4-BE49-F238E27FC236}">
                <a16:creationId xmlns:a16="http://schemas.microsoft.com/office/drawing/2014/main" id="{08F4EFE1-28F5-581B-F05D-38EBBE1ED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1432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4</a:t>
            </a:r>
            <a:endParaRPr lang="en-US" dirty="0"/>
          </a:p>
        </p:txBody>
      </p:sp>
      <p:sp>
        <p:nvSpPr>
          <p:cNvPr id="64" name="Text Placeholder 59">
            <a:extLst>
              <a:ext uri="{FF2B5EF4-FFF2-40B4-BE49-F238E27FC236}">
                <a16:creationId xmlns:a16="http://schemas.microsoft.com/office/drawing/2014/main" id="{AB30CC30-1713-8F61-2722-FED948533C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88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5</a:t>
            </a:r>
            <a:endParaRPr lang="en-US" dirty="0"/>
          </a:p>
        </p:txBody>
      </p:sp>
      <p:sp>
        <p:nvSpPr>
          <p:cNvPr id="73" name="Text Placeholder 70">
            <a:extLst>
              <a:ext uri="{FF2B5EF4-FFF2-40B4-BE49-F238E27FC236}">
                <a16:creationId xmlns:a16="http://schemas.microsoft.com/office/drawing/2014/main" id="{FA15A0FC-E301-BBB8-6C26-2D2AA6D60F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6651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F884D185-C4E4-F2B6-F85D-0F97BCF7F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09507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7" name="Text Placeholder 70">
            <a:extLst>
              <a:ext uri="{FF2B5EF4-FFF2-40B4-BE49-F238E27FC236}">
                <a16:creationId xmlns:a16="http://schemas.microsoft.com/office/drawing/2014/main" id="{049757F1-D506-2C2C-269C-5FC0FDF083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8" name="Text Placeholder 70">
            <a:extLst>
              <a:ext uri="{FF2B5EF4-FFF2-40B4-BE49-F238E27FC236}">
                <a16:creationId xmlns:a16="http://schemas.microsoft.com/office/drawing/2014/main" id="{B14F01AA-43F5-F834-B7F6-3949E5206A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63795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9" name="Text Placeholder 70">
            <a:extLst>
              <a:ext uri="{FF2B5EF4-FFF2-40B4-BE49-F238E27FC236}">
                <a16:creationId xmlns:a16="http://schemas.microsoft.com/office/drawing/2014/main" id="{6CE067F8-251E-8C0B-ACA3-8B0217FB0B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0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953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000" y="1808163"/>
            <a:ext cx="11232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983998" y="6526212"/>
            <a:ext cx="1188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4166F76A-4900-864D-B9F6-2488814C2A20}" type="datetime1">
              <a:rPr lang="de-DE" smtClean="0"/>
              <a:t>31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New E.ON PowerPoint Mas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42808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8" r:id="rId3"/>
    <p:sldLayoutId id="2147483679" r:id="rId4"/>
    <p:sldLayoutId id="2147483680" r:id="rId5"/>
    <p:sldLayoutId id="2147483685" r:id="rId6"/>
    <p:sldLayoutId id="2147483687" r:id="rId7"/>
    <p:sldLayoutId id="2147483681" r:id="rId8"/>
    <p:sldLayoutId id="2147483686" r:id="rId9"/>
    <p:sldLayoutId id="2147483682" r:id="rId10"/>
    <p:sldLayoutId id="2147483656" r:id="rId11"/>
    <p:sldLayoutId id="2147483657" r:id="rId12"/>
    <p:sldLayoutId id="2147483684" r:id="rId13"/>
    <p:sldLayoutId id="2147483691" r:id="rId14"/>
    <p:sldLayoutId id="2147483675" r:id="rId15"/>
    <p:sldLayoutId id="2147483658" r:id="rId16"/>
    <p:sldLayoutId id="2147483671" r:id="rId17"/>
    <p:sldLayoutId id="2147483670" r:id="rId18"/>
    <p:sldLayoutId id="2147483659" r:id="rId19"/>
    <p:sldLayoutId id="2147483660" r:id="rId20"/>
    <p:sldLayoutId id="2147483683" r:id="rId21"/>
    <p:sldLayoutId id="2147483661" r:id="rId22"/>
    <p:sldLayoutId id="2147483664" r:id="rId23"/>
    <p:sldLayoutId id="2147483665" r:id="rId24"/>
    <p:sldLayoutId id="2147483666" r:id="rId25"/>
    <p:sldLayoutId id="2147483667" r:id="rId26"/>
    <p:sldLayoutId id="2147483669" r:id="rId27"/>
    <p:sldLayoutId id="2147483668" r:id="rId28"/>
  </p:sldLayoutIdLst>
  <p:hf hdr="0" dt="0"/>
  <p:txStyles>
    <p:titleStyle>
      <a:lvl1pPr algn="l" defTabSz="5400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3017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240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335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mailto:uklinkdelivery@xoserve.com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40_8A729CA8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846CA-D200-DE7A-146B-8351520BEF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28D90BB-67A5-70ED-F474-5A9EA4CC487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322038E3-A9A5-1086-8926-1B3CB13F6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2245658"/>
            <a:ext cx="5616575" cy="1056341"/>
          </a:xfrm>
        </p:spPr>
        <p:txBody>
          <a:bodyPr/>
          <a:lstStyle/>
          <a:p>
            <a:r>
              <a:rPr lang="en-GB" dirty="0"/>
              <a:t>Testing Approach Overview</a:t>
            </a:r>
          </a:p>
          <a:p>
            <a:endParaRPr lang="en-GB" dirty="0"/>
          </a:p>
          <a:p>
            <a:r>
              <a:rPr lang="en-GB" dirty="0"/>
              <a:t>August Workgroup Update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9927537-4F4F-0E31-EF4F-4711681A30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512763"/>
            <a:ext cx="11233150" cy="1732896"/>
          </a:xfrm>
        </p:spPr>
        <p:txBody>
          <a:bodyPr/>
          <a:lstStyle/>
          <a:p>
            <a:r>
              <a:rPr lang="en-GB" dirty="0"/>
              <a:t>IGT173 – Gateway Delivery of RPC Data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E6F9331-22F2-E23F-AABE-CBCC5E71DC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>
          <a:xfrm>
            <a:off x="9732025" y="5799032"/>
            <a:ext cx="1980551" cy="546206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DBA316-DCF6-9A86-04E1-03FC1427A46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dirty="0"/>
              <a:t>01.07.2024</a:t>
            </a:r>
          </a:p>
        </p:txBody>
      </p:sp>
    </p:spTree>
    <p:extLst>
      <p:ext uri="{BB962C8B-B14F-4D97-AF65-F5344CB8AC3E}">
        <p14:creationId xmlns:p14="http://schemas.microsoft.com/office/powerpoint/2010/main" val="2126757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4DE7D4-11D6-4EC2-E554-B6BFA0ACFA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1999" y="6526212"/>
            <a:ext cx="360001" cy="138499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C9F2F7-3DF4-6CF3-9BD8-9C267B4F5D7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807199"/>
            <a:ext cx="11232000" cy="4538037"/>
          </a:xfrm>
        </p:spPr>
        <p:txBody>
          <a:bodyPr/>
          <a:lstStyle/>
          <a:p>
            <a:r>
              <a:rPr lang="en-US" dirty="0"/>
              <a:t>Modification IGT173 aims to update the mechanism of delivery of the RPC files from email/portal to IX delivery. </a:t>
            </a:r>
          </a:p>
          <a:p>
            <a:endParaRPr lang="en-US" dirty="0"/>
          </a:p>
          <a:p>
            <a:r>
              <a:rPr lang="en-US" dirty="0"/>
              <a:t>IGT173 has been approved by the IGT UNC Panel, and XRN 5720 has been approved by the DSC Committee. Both changes are targeting the Nov 2024 release for implementation. </a:t>
            </a:r>
          </a:p>
          <a:p>
            <a:endParaRPr lang="en-US" dirty="0"/>
          </a:p>
          <a:p>
            <a:r>
              <a:rPr lang="en-US" dirty="0"/>
              <a:t>To support delivery, a testing window for volunteering parties is being created ahead of delivery. </a:t>
            </a:r>
          </a:p>
          <a:p>
            <a:endParaRPr lang="en-US" dirty="0"/>
          </a:p>
          <a:p>
            <a:r>
              <a:rPr lang="en-US" dirty="0"/>
              <a:t>Only a small number of parties have expressed interest in testing as part of the modification responses. </a:t>
            </a:r>
          </a:p>
          <a:p>
            <a:endParaRPr lang="en-US" dirty="0"/>
          </a:p>
          <a:p>
            <a:r>
              <a:rPr lang="en-US" dirty="0"/>
              <a:t>Pre implementation testing is not planned for all IGT modifications; the approach for IGT173 will be bespoke. As part of IGT173 approval, the testing approach will require panel review ahead of commencement of the testing window. </a:t>
            </a:r>
            <a:br>
              <a:rPr lang="en-US" dirty="0"/>
            </a:b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13884D-D2C8-9B52-74E7-998BF51BD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/>
          <a:p>
            <a:r>
              <a:rPr lang="en-US" dirty="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831720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9A4EF4-E9C1-EE97-85DA-17EDC1B57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A13660-F511-4FB6-CE91-086DDDD0D6B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004767"/>
            <a:ext cx="11434617" cy="565994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Confirmation of testing window duration – suggestion 3 weeks (may conclude quicker).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Window to be just under three weeks – 2 weeks testing and the remaining as contingency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Confirmation of testing window commencement date – suggestion 7</a:t>
            </a:r>
            <a:r>
              <a:rPr lang="en-GB" sz="1200" baseline="30000" dirty="0"/>
              <a:t>th</a:t>
            </a:r>
            <a:r>
              <a:rPr lang="en-GB" sz="1200" dirty="0"/>
              <a:t> – 25</a:t>
            </a:r>
            <a:r>
              <a:rPr lang="en-GB" sz="1200" baseline="30000" dirty="0"/>
              <a:t>th</a:t>
            </a:r>
            <a:r>
              <a:rPr lang="en-GB" sz="1200" dirty="0"/>
              <a:t> October.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Xoserve are aiming for the earlier window of 1</a:t>
            </a:r>
            <a:r>
              <a:rPr lang="en-GB" sz="1200" baseline="30000" dirty="0">
                <a:solidFill>
                  <a:srgbClr val="0093F5"/>
                </a:solidFill>
              </a:rPr>
              <a:t>st</a:t>
            </a:r>
            <a:r>
              <a:rPr lang="en-GB" sz="1200" dirty="0">
                <a:solidFill>
                  <a:srgbClr val="0093F5"/>
                </a:solidFill>
              </a:rPr>
              <a:t> -18</a:t>
            </a:r>
            <a:r>
              <a:rPr lang="en-GB" sz="1200" baseline="30000" dirty="0">
                <a:solidFill>
                  <a:srgbClr val="0093F5"/>
                </a:solidFill>
              </a:rPr>
              <a:t>th</a:t>
            </a:r>
            <a:r>
              <a:rPr lang="en-GB" sz="1200" dirty="0">
                <a:solidFill>
                  <a:srgbClr val="0093F5"/>
                </a:solidFill>
              </a:rPr>
              <a:t> Oct (to allow IGTs to simulate live running)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Workgroup recommendation that the testing scenarios deliver confidence for the approved business rules. </a:t>
            </a:r>
          </a:p>
          <a:p>
            <a:pPr marL="558900" lvl="1" indent="-342900"/>
            <a:r>
              <a:rPr lang="en-GB" sz="1200" dirty="0"/>
              <a:t>Do any additional scenario tests need including for any of the business rules? 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No additional scenarios identified following last meeting – to be finalised at Aug meeting. Do we now want to test the 5pm cut off business rule?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Do parties want to test anything which is outside of the stated business rules? </a:t>
            </a:r>
          </a:p>
          <a:p>
            <a:pPr marL="558900" lvl="1" indent="-342900"/>
            <a:r>
              <a:rPr lang="en-GB" sz="1200" dirty="0"/>
              <a:t>An example of this is a file which is an inconsistent file size e.g. 10 x larger than normal.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No additional scenarios identified following last meeting – requirement to be finalised at Aug meet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Confirmation of testing parties – so far 2 x IGT and 2 x Shipper volunteers, anyone else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Updated to 3 x IGT volunteers at July meeting, no additional volunteers have come forward – requirement to be finalised at Aug meeting. Testing leads to be provided to E.ON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Do volunteering parties want to test with all participants or use a buddy system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To replicate live, all participating IGTs will issue to all participating Shippers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Do volunteering parties want to have daily check in calls or another frequency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Suggestion to hold a mid-morning (11am) call. There will be a minimum of a commencement call on the 1</a:t>
            </a:r>
            <a:r>
              <a:rPr lang="en-GB" sz="1200" baseline="30000" dirty="0">
                <a:solidFill>
                  <a:srgbClr val="0093F5"/>
                </a:solidFill>
              </a:rPr>
              <a:t>st</a:t>
            </a:r>
            <a:r>
              <a:rPr lang="en-GB" sz="1200" dirty="0">
                <a:solidFill>
                  <a:srgbClr val="0093F5"/>
                </a:solidFill>
              </a:rPr>
              <a:t> , a weekly wrap up on the 4</a:t>
            </a:r>
            <a:r>
              <a:rPr lang="en-GB" sz="1200" baseline="30000" dirty="0">
                <a:solidFill>
                  <a:srgbClr val="0093F5"/>
                </a:solidFill>
              </a:rPr>
              <a:t>th</a:t>
            </a:r>
            <a:r>
              <a:rPr lang="en-GB" sz="1200" dirty="0">
                <a:solidFill>
                  <a:srgbClr val="0093F5"/>
                </a:solidFill>
              </a:rPr>
              <a:t>, a 2</a:t>
            </a:r>
            <a:r>
              <a:rPr lang="en-GB" sz="1200" baseline="30000" dirty="0">
                <a:solidFill>
                  <a:srgbClr val="0093F5"/>
                </a:solidFill>
              </a:rPr>
              <a:t>nd</a:t>
            </a:r>
            <a:r>
              <a:rPr lang="en-GB" sz="1200" dirty="0">
                <a:solidFill>
                  <a:srgbClr val="0093F5"/>
                </a:solidFill>
              </a:rPr>
              <a:t> week kick off call on the 7</a:t>
            </a:r>
            <a:r>
              <a:rPr lang="en-GB" sz="1200" baseline="30000" dirty="0">
                <a:solidFill>
                  <a:srgbClr val="0093F5"/>
                </a:solidFill>
              </a:rPr>
              <a:t>th</a:t>
            </a:r>
            <a:r>
              <a:rPr lang="en-GB" sz="1200" dirty="0">
                <a:solidFill>
                  <a:srgbClr val="0093F5"/>
                </a:solidFill>
              </a:rPr>
              <a:t> and a weekly wrap up (and decision on contingency need) on the 11</a:t>
            </a:r>
            <a:r>
              <a:rPr lang="en-GB" sz="1200" baseline="30000" dirty="0">
                <a:solidFill>
                  <a:srgbClr val="0093F5"/>
                </a:solidFill>
              </a:rPr>
              <a:t>th</a:t>
            </a:r>
            <a:r>
              <a:rPr lang="en-GB" sz="1200" dirty="0">
                <a:solidFill>
                  <a:srgbClr val="0093F5"/>
                </a:solidFill>
              </a:rPr>
              <a:t>. All other days will be decided by testing participants who will stand up/down call around needs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How do workgroup and volunteering parties want to capture testing evidence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Suggestion to use the testing log template (presented in July). All completed logs to be sent to E.ON at the end of testing to collate to a single log to share with Panel. 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How do workgroup and volunteering parties want to recommend release implementation to Panel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Suggestion for the final testing daily call to capture a formal recommendation (similar to a Go/No-Go recommendation) which is then submitted to panel with the test log. </a:t>
            </a:r>
          </a:p>
          <a:p>
            <a:endParaRPr lang="en-GB" dirty="0"/>
          </a:p>
          <a:p>
            <a:endParaRPr lang="en-GB" dirty="0"/>
          </a:p>
          <a:p>
            <a:pPr marL="342900" indent="-342900">
              <a:buAutoNum type="arabicParenR"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DDEB01-0F48-CE96-13F3-35CAA5A96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group considerations / recommendations – *Updated*</a:t>
            </a:r>
          </a:p>
        </p:txBody>
      </p:sp>
    </p:spTree>
    <p:extLst>
      <p:ext uri="{BB962C8B-B14F-4D97-AF65-F5344CB8AC3E}">
        <p14:creationId xmlns:p14="http://schemas.microsoft.com/office/powerpoint/2010/main" val="1881593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870A9F-FB88-ED48-EDF5-FD32525AF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AFA383-E853-A140-2437-C3EB9E339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D2EC2A-2BB1-23AC-D9CB-24DA81F78A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200" dirty="0"/>
              <a:t>Testing data to be dummy rather than live</a:t>
            </a:r>
          </a:p>
          <a:p>
            <a:pPr marL="501750" lvl="1" indent="-28575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July workgroup supported using test data and agreed to add it as a note to the scenario tests (next slide)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200" dirty="0"/>
              <a:t>Retention of test data</a:t>
            </a:r>
          </a:p>
          <a:p>
            <a:pPr marL="501750" lvl="1" indent="-28575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As the test data is ‘dummy data’, it has been suggested to delete the data once testing as concluded. This is likely to be parties' data retention policies (and a sensible ask) – to be discuss at the Aug meeting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200" dirty="0"/>
              <a:t>CDSP attendance for testing</a:t>
            </a:r>
          </a:p>
          <a:p>
            <a:pPr marL="501750" lvl="1" indent="-28575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The CDSP will have representative (Nov 24 Project Manager) for the initial kick-off call, any additional attendance will be by request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200" dirty="0"/>
              <a:t>Issue raising to the CDSP</a:t>
            </a:r>
          </a:p>
          <a:p>
            <a:pPr marL="501750" lvl="1" indent="-28575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This will be via </a:t>
            </a:r>
            <a:r>
              <a:rPr lang="en-GB" sz="1200" dirty="0">
                <a:solidFill>
                  <a:srgbClr val="0093F5"/>
                </a:solidFill>
                <a:hlinkClick r:id="rId2"/>
              </a:rPr>
              <a:t>uklinkdelivery@xoserve.com</a:t>
            </a:r>
            <a:r>
              <a:rPr lang="en-GB" sz="1200" dirty="0">
                <a:solidFill>
                  <a:srgbClr val="0093F5"/>
                </a:solidFill>
              </a:rPr>
              <a:t> and any correspondence sent to include XRN/Mod info in the title as well as cc the Nov 24 Project Manager. All issues submitted to this mailbox are to be captured in the testing log. 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200" dirty="0"/>
              <a:t>Industry Comms ahead of testing </a:t>
            </a:r>
          </a:p>
          <a:p>
            <a:pPr marL="501750" lvl="1" indent="-28575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It has been suggested to issue comms (via the IGT UNC and CDSP) to confirm the testing approach in a bespoke comms and also do a final call for volunteers – to be discussed at the Aug meeting. </a:t>
            </a:r>
          </a:p>
          <a:p>
            <a:pPr marL="501750" lvl="1" indent="-285750">
              <a:buFont typeface="Wingdings" panose="05000000000000000000" pitchFamily="2" charset="2"/>
              <a:buChar char="v"/>
            </a:pPr>
            <a:endParaRPr lang="en-GB" dirty="0">
              <a:solidFill>
                <a:srgbClr val="0093F5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DB3E75B-40A2-78E3-8F1B-3075CE0F4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group considerations / recommendations – Continued</a:t>
            </a:r>
          </a:p>
        </p:txBody>
      </p:sp>
    </p:spTree>
    <p:extLst>
      <p:ext uri="{BB962C8B-B14F-4D97-AF65-F5344CB8AC3E}">
        <p14:creationId xmlns:p14="http://schemas.microsoft.com/office/powerpoint/2010/main" val="15809681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CA17E3-9F71-B1E2-2B3D-4299A532C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30A428-9CB5-6EEE-F091-740948C7671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GB" dirty="0"/>
              <a:t>The IGTs can successfully create a file using the guidance documentation.</a:t>
            </a:r>
          </a:p>
          <a:p>
            <a:pPr marL="342900" indent="-342900">
              <a:buAutoNum type="arabicParenR" startAt="2"/>
            </a:pPr>
            <a:r>
              <a:rPr lang="en-GB" dirty="0"/>
              <a:t>Files are successfully cascaded between the IGT / CDSP / Shipper with successful notifications issued.</a:t>
            </a:r>
          </a:p>
          <a:p>
            <a:pPr marL="342900" indent="-342900">
              <a:buAutoNum type="arabicParenR" startAt="3"/>
            </a:pPr>
            <a:r>
              <a:rPr lang="en-GB" dirty="0"/>
              <a:t>Files with invalid file extensions fail as expected and unsuccessful notifications are issued.</a:t>
            </a:r>
          </a:p>
          <a:p>
            <a:pPr marL="342900" indent="-342900">
              <a:buAutoNum type="arabicParenR" startAt="4"/>
            </a:pPr>
            <a:r>
              <a:rPr lang="en-GB" dirty="0"/>
              <a:t>Files with invalid naming conventions fail as expected and unsuccessful notifications are issued. </a:t>
            </a:r>
          </a:p>
          <a:p>
            <a:pPr marL="342900" indent="-342900">
              <a:buAutoNum type="arabicParenR" startAt="5"/>
            </a:pPr>
            <a:r>
              <a:rPr lang="en-GB" dirty="0"/>
              <a:t>Files with incorrect file numberings e.g. TKAB1234 fail and unsuccessful notifications are issued. </a:t>
            </a:r>
          </a:p>
          <a:p>
            <a:pPr marL="342900" indent="-342900">
              <a:buAutoNum type="arabicParenR" startAt="5"/>
            </a:pPr>
            <a:endParaRPr lang="en-GB" dirty="0"/>
          </a:p>
          <a:p>
            <a:r>
              <a:rPr lang="en-GB" dirty="0"/>
              <a:t>NOT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ile naming for testing use ‘TN’ rather than production ‘PN’ naming. Should PN files be used this may result in files be loaded into parties live environmen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93F5"/>
                </a:solidFill>
              </a:rPr>
              <a:t>File data to contain test/dummy data rather than replicating live billing data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AC9F9C-090D-E516-2876-0B8659FBC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itial High-Level Testing Scenarios </a:t>
            </a:r>
          </a:p>
        </p:txBody>
      </p:sp>
    </p:spTree>
    <p:extLst>
      <p:ext uri="{BB962C8B-B14F-4D97-AF65-F5344CB8AC3E}">
        <p14:creationId xmlns:p14="http://schemas.microsoft.com/office/powerpoint/2010/main" val="2166007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F2A4FF-BEA7-7C4A-2FA0-A3CA299C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6</a:t>
            </a:fld>
            <a:endParaRPr lang="de-DE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32776D1-F26A-FF71-5F95-697AA47C1701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507339394"/>
              </p:ext>
            </p:extLst>
          </p:nvPr>
        </p:nvGraphicFramePr>
        <p:xfrm>
          <a:off x="480438" y="1153477"/>
          <a:ext cx="11231562" cy="5191760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1581627">
                  <a:extLst>
                    <a:ext uri="{9D8B030D-6E8A-4147-A177-3AD203B41FA5}">
                      <a16:colId xmlns:a16="http://schemas.microsoft.com/office/drawing/2014/main" val="3728151564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63776830"/>
                    </a:ext>
                  </a:extLst>
                </a:gridCol>
                <a:gridCol w="8222351">
                  <a:extLst>
                    <a:ext uri="{9D8B030D-6E8A-4147-A177-3AD203B41FA5}">
                      <a16:colId xmlns:a16="http://schemas.microsoft.com/office/drawing/2014/main" val="35646874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usiness R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cenario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mmen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0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 &amp;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 only test for creating the file to s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69238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, Shipper and CDSP test confirming successful IX delive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0841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livered via scenario 2, no additional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9865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s may want to add in scenarios to test, no current scenarios captur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24626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, 2 &amp;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, Shipper and CDSP tests for valid and invalid scenario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5601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 &amp;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GT, Shipper and CDSP tests for valid and invalid scenario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1849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>
                          <a:highlight>
                            <a:srgbClr val="FFFF00"/>
                          </a:highlight>
                        </a:rPr>
                        <a:t>No scenarios currently outlined as timing of the test window does not reflect l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7840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voidance of date statement, no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4315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Offline process, no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4801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elivered via scenario 2, no additional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9784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livered via scenario 2, no additional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0501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o scenarios as this rule is around completing te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922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o scenarios as this is relates to the post implementation re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332113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AE2686D-F605-713C-8E57-996D488A9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Rules Testing </a:t>
            </a:r>
          </a:p>
        </p:txBody>
      </p:sp>
    </p:spTree>
    <p:extLst>
      <p:ext uri="{BB962C8B-B14F-4D97-AF65-F5344CB8AC3E}">
        <p14:creationId xmlns:p14="http://schemas.microsoft.com/office/powerpoint/2010/main" val="232276701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9176567D-7CF6-3F15-32C6-A87DB36FC2E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4BBC02D-79D1-7BBF-20A9-E710B3A70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90FDDD-3D4A-217D-A9BA-24D0EBBA7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3488AB-D314-093B-7FFE-612860F13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448780"/>
            <a:ext cx="11233150" cy="3545586"/>
          </a:xfrm>
        </p:spPr>
        <p:txBody>
          <a:bodyPr>
            <a:normAutofit/>
          </a:bodyPr>
          <a:lstStyle/>
          <a:p>
            <a:r>
              <a:rPr lang="en-US" dirty="0"/>
              <a:t>Thank you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F8412C5-EFDE-8353-01F2-6E4ED7CD44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8802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E.ON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.potx" id="{DF8E845A-5D12-4081-9F64-0316D9C40326}" vid="{18658613-AEAC-420B-BBCC-8E65C7B71D73}"/>
    </a:ext>
  </a:extLst>
</a:theme>
</file>

<file path=ppt/theme/theme2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8e7e3d-2c51-4b8d-87af-296daf512c60">
      <Terms xmlns="http://schemas.microsoft.com/office/infopath/2007/PartnerControls"/>
    </lcf76f155ced4ddcb4097134ff3c332f>
    <TaxCatchAll xmlns="ffd4968f-9387-4b8c-969c-1577143d9579" xsi:nil="true"/>
    <SharedWithUsers xmlns="ffd4968f-9387-4b8c-969c-1577143d9579">
      <UserInfo>
        <DisplayName>Sebastian Emmel (Peter Schmidt Group)</DisplayName>
        <AccountId>20</AccountId>
        <AccountType/>
      </UserInfo>
      <UserInfo>
        <DisplayName>Fabio Prata (Peter Schmidt Group)</DisplayName>
        <AccountId>28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E56161DB05C4488188F41286798B95" ma:contentTypeVersion="14" ma:contentTypeDescription="Create a new document." ma:contentTypeScope="" ma:versionID="653140344680330b162409660598db4d">
  <xsd:schema xmlns:xsd="http://www.w3.org/2001/XMLSchema" xmlns:xs="http://www.w3.org/2001/XMLSchema" xmlns:p="http://schemas.microsoft.com/office/2006/metadata/properties" xmlns:ns2="ffd4968f-9387-4b8c-969c-1577143d9579" xmlns:ns3="808e7e3d-2c51-4b8d-87af-296daf512c60" targetNamespace="http://schemas.microsoft.com/office/2006/metadata/properties" ma:root="true" ma:fieldsID="d1638e970f3fc5ee02c6f453e32991d6" ns2:_="" ns3:_="">
    <xsd:import namespace="ffd4968f-9387-4b8c-969c-1577143d9579"/>
    <xsd:import namespace="808e7e3d-2c51-4b8d-87af-296daf512c6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d4968f-9387-4b8c-969c-1577143d95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50d7b7d2-ff73-4e2a-8bf5-1c01b67f84ca}" ma:internalName="TaxCatchAll" ma:showField="CatchAllData" ma:web="ffd4968f-9387-4b8c-969c-1577143d95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8e7e3d-2c51-4b8d-87af-296daf512c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d2bc115-f314-4df2-a102-4eef0e4978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B9F5CF-2DCE-49DD-AA36-81101D395492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6bd85ca3-a648-4808-98f4-fd769bced636"/>
    <ds:schemaRef ds:uri="873adf82-8543-45de-ab67-3985070cb6ec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808e7e3d-2c51-4b8d-87af-296daf512c60"/>
    <ds:schemaRef ds:uri="ffd4968f-9387-4b8c-969c-1577143d9579"/>
  </ds:schemaRefs>
</ds:datastoreItem>
</file>

<file path=customXml/itemProps2.xml><?xml version="1.0" encoding="utf-8"?>
<ds:datastoreItem xmlns:ds="http://schemas.openxmlformats.org/officeDocument/2006/customXml" ds:itemID="{01C67645-6295-45EF-8DA1-CA3F5B6FF0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d4968f-9387-4b8c-969c-1577143d9579"/>
    <ds:schemaRef ds:uri="808e7e3d-2c51-4b8d-87af-296daf512c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9575DA2-38B3-4D6C-BE45-A5618476C899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</Template>
  <TotalTime>1980</TotalTime>
  <Words>1140</Words>
  <Application>Microsoft Office PowerPoint</Application>
  <PresentationFormat>Widescreen</PresentationFormat>
  <Paragraphs>113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EON Office Head</vt:lpstr>
      <vt:lpstr>Arial</vt:lpstr>
      <vt:lpstr>EON Brix Sans</vt:lpstr>
      <vt:lpstr>Wingdings</vt:lpstr>
      <vt:lpstr>E.ON</vt:lpstr>
      <vt:lpstr>IGT173 – Gateway Delivery of RPC Data</vt:lpstr>
      <vt:lpstr>Background</vt:lpstr>
      <vt:lpstr>Workgroup considerations / recommendations – *Updated*</vt:lpstr>
      <vt:lpstr>Workgroup considerations / recommendations – Continued</vt:lpstr>
      <vt:lpstr>Initial High-Level Testing Scenarios </vt:lpstr>
      <vt:lpstr>Business Rules Testing 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Dudley, Kirsty</dc:creator>
  <dc:description/>
  <cp:lastModifiedBy>Dudley, Kirsty</cp:lastModifiedBy>
  <cp:revision>6</cp:revision>
  <dcterms:created xsi:type="dcterms:W3CDTF">2024-06-28T12:32:07Z</dcterms:created>
  <dcterms:modified xsi:type="dcterms:W3CDTF">2024-07-31T15:2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E56161DB05C4488188F41286798B95</vt:lpwstr>
  </property>
  <property fmtid="{D5CDD505-2E9C-101B-9397-08002B2CF9AE}" pid="3" name="MediaServiceImageTags">
    <vt:lpwstr/>
  </property>
</Properties>
</file>